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1"/>
    <p:sldMasterId id="2147483678" r:id="rId2"/>
    <p:sldMasterId id="2147483690" r:id="rId3"/>
    <p:sldMasterId id="2147483693" r:id="rId4"/>
  </p:sldMasterIdLst>
  <p:notesMasterIdLst>
    <p:notesMasterId r:id="rId13"/>
  </p:notesMasterIdLst>
  <p:handoutMasterIdLst>
    <p:handoutMasterId r:id="rId14"/>
  </p:handoutMasterIdLst>
  <p:sldIdLst>
    <p:sldId id="301" r:id="rId5"/>
    <p:sldId id="302" r:id="rId6"/>
    <p:sldId id="281" r:id="rId7"/>
    <p:sldId id="297" r:id="rId8"/>
    <p:sldId id="296" r:id="rId9"/>
    <p:sldId id="303" r:id="rId10"/>
    <p:sldId id="282" r:id="rId11"/>
    <p:sldId id="289" r:id="rId12"/>
  </p:sldIdLst>
  <p:sldSz cx="9906000" cy="6858000" type="A4"/>
  <p:notesSz cx="6858000" cy="914400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85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85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85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85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85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85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85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85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85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CBCBC"/>
    <a:srgbClr val="C20937"/>
    <a:srgbClr val="F6D7A2"/>
    <a:srgbClr val="F9BD27"/>
    <a:srgbClr val="FA9D10"/>
    <a:srgbClr val="EF6B01"/>
    <a:srgbClr val="F6D106"/>
    <a:srgbClr val="3D464A"/>
    <a:srgbClr val="6B6B6B"/>
    <a:srgbClr val="FED20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6464" autoAdjust="0"/>
    <p:restoredTop sz="94696" autoAdjust="0"/>
  </p:normalViewPr>
  <p:slideViewPr>
    <p:cSldViewPr>
      <p:cViewPr>
        <p:scale>
          <a:sx n="110" d="100"/>
          <a:sy n="110" d="100"/>
        </p:scale>
        <p:origin x="-600" y="-72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86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3862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3862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3862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fld id="{8048B322-7196-490E-86EB-BC0391C8D32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745907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fld id="{0EF9833D-5B38-4037-B8AA-0F69A0060D41}" type="datetimeFigureOut">
              <a:rPr lang="ru-RU"/>
              <a:pPr>
                <a:defRPr/>
              </a:pPr>
              <a:t>01.02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fld id="{77EFA82E-D45C-4223-B7CB-47D5D1E6D94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5679874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oleObject" Target="../embeddings/oleObject2.bin"/><Relationship Id="rId5" Type="http://schemas.openxmlformats.org/officeDocument/2006/relationships/tags" Target="../tags/tag4.xml"/><Relationship Id="rId10" Type="http://schemas.openxmlformats.org/officeDocument/2006/relationships/image" Target="../media/image5.png"/><Relationship Id="rId4" Type="http://schemas.openxmlformats.org/officeDocument/2006/relationships/tags" Target="../tags/tag3.xml"/><Relationship Id="rId9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1800" kern="1200" dirty="0" smtClean="0">
                <a:solidFill>
                  <a:srgbClr val="3D464A"/>
                </a:solidFill>
                <a:latin typeface="Europe" pitchFamily="50" charset="-52"/>
                <a:ea typeface="+mj-ea"/>
                <a:cs typeface="+mj-cs"/>
              </a:defRPr>
            </a:lvl1pPr>
          </a:lstStyle>
          <a:p>
            <a:r>
              <a:rPr lang="en-US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CC1639-53A2-462C-9024-C2CB3FFCC09D}" type="datetime1">
              <a:rPr lang="ru-RU"/>
              <a:pPr>
                <a:defRPr/>
              </a:pPr>
              <a:t>01.02.2019</a:t>
            </a:fld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D146A7-256C-49F9-B4EF-C3D0672ED38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val="1463510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val="403510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val="21965565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val="16306916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val="1268343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val="42766532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val="40464028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val="29443323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298797" y="765175"/>
            <a:ext cx="2266685" cy="53609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300" y="765175"/>
            <a:ext cx="6638396" cy="53609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val="118326630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Box 12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250363" y="6675438"/>
            <a:ext cx="190500" cy="131762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algn="ctr" defTabSz="8890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ctr" defTabSz="8890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ctr" defTabSz="8890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ctr" defTabSz="8890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ctr" defTabSz="8890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defTabSz="8890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defTabSz="8890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defTabSz="8890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defTabSz="8890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fld id="{1FBE2200-E051-4EA6-978F-E0AC87A16507}" type="slidenum">
              <a:rPr lang="en-GB" sz="900" smtClean="0">
                <a:solidFill>
                  <a:srgbClr val="000000"/>
                </a:solidFill>
              </a:rPr>
              <a:pPr algn="r" eaLnBrk="1" hangingPunct="1">
                <a:defRPr/>
              </a:pPr>
              <a:t>‹#›</a:t>
            </a:fld>
            <a:endParaRPr lang="en-GB" sz="900" smtClean="0">
              <a:solidFill>
                <a:srgbClr val="000000"/>
              </a:solidFill>
            </a:endParaRPr>
          </a:p>
        </p:txBody>
      </p:sp>
      <p:sp>
        <p:nvSpPr>
          <p:cNvPr id="5" name="Rectangle 12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989013"/>
            <a:ext cx="9906000" cy="109537"/>
          </a:xfrm>
          <a:prstGeom prst="rect">
            <a:avLst/>
          </a:prstGeom>
          <a:solidFill>
            <a:srgbClr val="F0D500"/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>
              <a:defRPr/>
            </a:pPr>
            <a:endParaRPr lang="ru-RU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Picture 1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1900" y="225425"/>
            <a:ext cx="550863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7" name="Object 2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61383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1800" kern="1200" dirty="0" smtClean="0">
                <a:solidFill>
                  <a:srgbClr val="3D464A"/>
                </a:solidFill>
                <a:latin typeface="Europe" pitchFamily="50" charset="-52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94977" y="1304761"/>
            <a:ext cx="4380380" cy="4821562"/>
          </a:xfrm>
        </p:spPr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030643" y="1304761"/>
            <a:ext cx="4380380" cy="4821562"/>
          </a:xfrm>
        </p:spPr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65CDEB-F8FD-4EEB-AE1B-0D33C2A77758}" type="datetime1">
              <a:rPr lang="ru-RU"/>
              <a:pPr>
                <a:defRPr/>
              </a:pPr>
              <a:t>01.02.2019</a:t>
            </a:fld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6367DC-A72E-404B-B996-9A4CEB3D18F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Дата и 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val="9647060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Дата и 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val="18080529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Дата и 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val="5105358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Дата и 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val="165899774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Дата и 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val="25065845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Дата и 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val="337361325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Дата и 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val="292894057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Дата и 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val="10820674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Дата и 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val="62244645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Дата и 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val="17806500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1800" kern="1200" dirty="0" smtClean="0">
                <a:solidFill>
                  <a:srgbClr val="3D464A"/>
                </a:solidFill>
                <a:latin typeface="Europe" pitchFamily="50" charset="-52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4977" y="1171996"/>
            <a:ext cx="4377145" cy="464677"/>
          </a:xfrm>
          <a:solidFill>
            <a:srgbClr val="6B6B6B"/>
          </a:solidFill>
        </p:spPr>
        <p:txBody>
          <a:bodyPr anchor="ctr" anchorCtr="1">
            <a:norm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4977" y="1835822"/>
            <a:ext cx="4377145" cy="4290502"/>
          </a:xfrm>
        </p:spPr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261" y="1171997"/>
            <a:ext cx="4378762" cy="464676"/>
          </a:xfrm>
          <a:solidFill>
            <a:srgbClr val="6B6B6B"/>
          </a:solidFill>
        </p:spPr>
        <p:txBody>
          <a:bodyPr rtlCol="0" anchor="ctr" anchorCtr="1">
            <a:normAutofit/>
          </a:bodyPr>
          <a:lstStyle>
            <a:lvl1pPr marL="0" indent="0">
              <a:buNone/>
              <a:defRPr lang="ru-RU" sz="1400" b="0" kern="1200" smtClean="0">
                <a:solidFill>
                  <a:schemeClr val="bg1"/>
                </a:solidFill>
                <a:latin typeface="Europe" pitchFamily="50" charset="-52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261" y="1835822"/>
            <a:ext cx="4378762" cy="4290502"/>
          </a:xfrm>
        </p:spPr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6BF96D-3B35-40B6-826D-419D8A911329}" type="datetime1">
              <a:rPr lang="ru-RU"/>
              <a:pPr>
                <a:defRPr/>
              </a:pPr>
              <a:t>01.02.2019</a:t>
            </a:fld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6B7DB6-019F-480D-96E1-7F0656BD095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298797" y="765175"/>
            <a:ext cx="2266685" cy="53609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300" y="765175"/>
            <a:ext cx="6638396" cy="53609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Дата и 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val="25422115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94976" y="176259"/>
            <a:ext cx="8388747" cy="597443"/>
          </a:xfrm>
        </p:spPr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1800" kern="1200" smtClean="0">
                <a:solidFill>
                  <a:srgbClr val="3D464A"/>
                </a:solidFill>
                <a:latin typeface="Europe" pitchFamily="50" charset="-52"/>
                <a:ea typeface="+mj-ea"/>
                <a:cs typeface="+mj-cs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A996BE-E6C8-463C-872F-4D5C435CBC75}" type="datetime1">
              <a:rPr lang="ru-RU"/>
              <a:pPr>
                <a:defRPr/>
              </a:pPr>
              <a:t>01.02.2019</a:t>
            </a:fld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1EFF20-9F65-4795-92B7-B2A74530243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>
            <a:lvl1pPr>
              <a:def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464A"/>
                </a:solidFill>
                <a:effectLst/>
                <a:uLnTx/>
                <a:uFillTx/>
                <a:latin typeface="Europe" pitchFamily="50" charset="-52"/>
                <a:ea typeface="+mj-ea"/>
                <a:cs typeface="+mj-cs"/>
              </a:defRPr>
            </a:lvl1pPr>
          </a:lstStyle>
          <a:p>
            <a:pPr lvl="0"/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C41B85-2829-4127-9BBD-8229E77A6207}" type="datetime1">
              <a:rPr lang="ru-RU"/>
              <a:pPr>
                <a:defRPr/>
              </a:pPr>
              <a:t>01.02.2019</a:t>
            </a:fld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3BEEE0-1B09-418F-BBE3-BDA42DF059B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848548-C86E-4DE2-9521-A687683726D4}" type="datetime1">
              <a:rPr lang="ru-RU"/>
              <a:pPr>
                <a:defRPr/>
              </a:pPr>
              <a:t>01.02.2019</a:t>
            </a:fld>
            <a:endParaRPr lang="ru-RU"/>
          </a:p>
        </p:txBody>
      </p:sp>
      <p:sp>
        <p:nvSpPr>
          <p:cNvPr id="3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9241FC-620E-4B9F-AC82-898CE14FC30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33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>
          <a:xfrm>
            <a:off x="116947" y="6453191"/>
            <a:ext cx="3136900" cy="3333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/>
              <a:t>Нижний колонтитул</a:t>
            </a:r>
            <a:r>
              <a:rPr lang="en-US"/>
              <a:t> </a:t>
            </a:r>
            <a:r>
              <a:rPr lang="ru-RU"/>
              <a:t>шрифт </a:t>
            </a:r>
            <a:r>
              <a:rPr lang="en-US"/>
              <a:t>Arial (10 pt)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Дата и время</a:t>
            </a:r>
            <a:r>
              <a:rPr lang="en-US"/>
              <a:t> </a:t>
            </a:r>
            <a:r>
              <a:rPr lang="ru-RU"/>
              <a:t>шрифт </a:t>
            </a:r>
            <a:r>
              <a:rPr lang="en-US"/>
              <a:t>Arial (10 pt)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404074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val="4995092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val="17014446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image" Target="../media/image6.jpeg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9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95300" y="176213"/>
            <a:ext cx="8388350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  <a:r>
              <a:rPr lang="en-US" smtClean="0"/>
              <a:t/>
            </a:r>
            <a:br>
              <a:rPr lang="en-US" smtClean="0"/>
            </a:br>
            <a:r>
              <a:rPr lang="ru-RU" smtClean="0"/>
              <a:t>презентации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95300" y="1238250"/>
            <a:ext cx="8915400" cy="4887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Europe" pitchFamily="50" charset="-52"/>
                <a:cs typeface="+mn-cs"/>
              </a:defRPr>
            </a:lvl1pPr>
          </a:lstStyle>
          <a:p>
            <a:pPr>
              <a:defRPr/>
            </a:pPr>
            <a:fld id="{956FAC67-2878-4E8B-A0D2-AA6F533D00D3}" type="datetime1">
              <a:rPr lang="ru-RU"/>
              <a:pPr>
                <a:defRPr/>
              </a:pPr>
              <a:t>01.02.2019</a:t>
            </a:fld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  <a:latin typeface="Europe" pitchFamily="50" charset="-52"/>
                <a:cs typeface="+mn-cs"/>
              </a:defRPr>
            </a:lvl1pPr>
          </a:lstStyle>
          <a:p>
            <a:pPr>
              <a:defRPr/>
            </a:pPr>
            <a:fld id="{54B471EF-1928-48DE-A04F-FCDB823EC21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5" r:id="rId2"/>
    <p:sldLayoutId id="2147483674" r:id="rId3"/>
    <p:sldLayoutId id="2147483673" r:id="rId4"/>
    <p:sldLayoutId id="2147483672" r:id="rId5"/>
    <p:sldLayoutId id="2147483671" r:id="rId6"/>
    <p:sldLayoutId id="2147483705" r:id="rId7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kern="1200">
          <a:solidFill>
            <a:srgbClr val="3D464A"/>
          </a:solidFill>
          <a:latin typeface="Europe" pitchFamily="50" charset="-52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5pPr>
      <a:lvl6pPr marL="457200" algn="l" rtl="0" fontAlgn="base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6pPr>
      <a:lvl7pPr marL="914400" algn="l" rtl="0" fontAlgn="base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7pPr>
      <a:lvl8pPr marL="1371600" algn="l" rtl="0" fontAlgn="base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8pPr>
      <a:lvl9pPr marL="1828800" algn="l" rtl="0" fontAlgn="base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SzPct val="80000"/>
        <a:buBlip>
          <a:blip r:embed="rId10"/>
        </a:buBlip>
        <a:defRPr sz="1200" kern="1200">
          <a:solidFill>
            <a:srgbClr val="3D464A"/>
          </a:solidFill>
          <a:latin typeface="Europe" pitchFamily="50" charset="-52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FED208"/>
        </a:buClr>
        <a:buSzPct val="120000"/>
        <a:buFont typeface="Arial" charset="0"/>
        <a:buChar char="•"/>
        <a:defRPr sz="1200" kern="1200">
          <a:solidFill>
            <a:srgbClr val="3D464A"/>
          </a:solidFill>
          <a:latin typeface="Europe" pitchFamily="50" charset="-52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FED208"/>
        </a:buClr>
        <a:buSzPct val="96000"/>
        <a:buFont typeface="Wingdings" pitchFamily="2" charset="2"/>
        <a:buChar char="§"/>
        <a:defRPr sz="1200" kern="1200">
          <a:solidFill>
            <a:srgbClr val="3D464A"/>
          </a:solidFill>
          <a:latin typeface="Europe" pitchFamily="50" charset="-52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200" kern="1200">
          <a:solidFill>
            <a:srgbClr val="3D464A"/>
          </a:solidFill>
          <a:latin typeface="Europe" pitchFamily="50" charset="-52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defRPr sz="1200" kern="1200">
          <a:solidFill>
            <a:srgbClr val="3D464A"/>
          </a:solidFill>
          <a:latin typeface="Europe" pitchFamily="50" charset="-52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3975" name="Rectangle 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8229204" y="6381750"/>
            <a:ext cx="1532334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Дата/время шрифт Arial (10 pt)</a:t>
            </a:r>
          </a:p>
        </p:txBody>
      </p:sp>
      <p:sp>
        <p:nvSpPr>
          <p:cNvPr id="2051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5030392" y="765175"/>
            <a:ext cx="4535090" cy="151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Заголовок презентации</a:t>
            </a:r>
            <a:br>
              <a:rPr lang="ru-RU" smtClean="0"/>
            </a:br>
            <a:r>
              <a:rPr lang="ru-RU" smtClean="0"/>
              <a:t>шрифт </a:t>
            </a:r>
            <a:r>
              <a:rPr lang="en-US" smtClean="0"/>
              <a:t>Arial</a:t>
            </a:r>
            <a:r>
              <a:rPr lang="ru-RU" smtClean="0"/>
              <a:t> (20</a:t>
            </a:r>
            <a:r>
              <a:rPr lang="en-US" smtClean="0"/>
              <a:t> pt)</a:t>
            </a:r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1699296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30788" y="765175"/>
            <a:ext cx="4533900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6946" tIns="76946" rIns="76946" bIns="769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Заголовок презентации</a:t>
            </a:r>
            <a:br>
              <a:rPr lang="ru-RU" smtClean="0"/>
            </a:br>
            <a:r>
              <a:rPr lang="ru-RU" smtClean="0"/>
              <a:t>шрифт </a:t>
            </a:r>
            <a:r>
              <a:rPr lang="en-US" smtClean="0"/>
              <a:t>Europe</a:t>
            </a:r>
            <a:r>
              <a:rPr lang="ru-RU" smtClean="0"/>
              <a:t> (20</a:t>
            </a:r>
            <a:r>
              <a:rPr lang="en-US" smtClean="0"/>
              <a:t> pt)</a:t>
            </a:r>
            <a:endParaRPr lang="ru-RU" smtClean="0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37400" y="6524625"/>
            <a:ext cx="2624138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722" tIns="48861" rIns="97722" bIns="48861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/>
                </a:solidFill>
                <a:latin typeface="Europe" pitchFamily="2" charset="0"/>
                <a:cs typeface="+mn-cs"/>
              </a:defRPr>
            </a:lvl1pPr>
          </a:lstStyle>
          <a:p>
            <a:pPr>
              <a:defRPr/>
            </a:pPr>
            <a:fld id="{03A4FCAC-6269-458F-B058-17568716A1EE}" type="datetime1">
              <a:rPr lang="ru-RU">
                <a:solidFill>
                  <a:srgbClr val="FFFFFF"/>
                </a:solidFill>
              </a:rPr>
              <a:pPr>
                <a:defRPr/>
              </a:pPr>
              <a:t>01.02.2019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3684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</p:sldLayoutIdLst>
  <p:hf hdr="0" ftr="0"/>
  <p:txStyles>
    <p:titleStyle>
      <a:lvl1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+mj-lt"/>
          <a:ea typeface="+mj-ea"/>
          <a:cs typeface="+mj-cs"/>
        </a:defRPr>
      </a:lvl1pPr>
      <a:lvl2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2pPr>
      <a:lvl3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3pPr>
      <a:lvl4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4pPr>
      <a:lvl5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5pPr>
      <a:lvl6pPr marL="4572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6pPr>
      <a:lvl7pPr marL="9144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7pPr>
      <a:lvl8pPr marL="13716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8pPr>
      <a:lvl9pPr marL="18288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9pPr>
    </p:titleStyle>
    <p:bodyStyle>
      <a:lvl1pPr marL="366713" indent="-366713" algn="l" defTabSz="977900" rtl="0" eaLnBrk="0" fontAlgn="base" hangingPunct="0">
        <a:spcBef>
          <a:spcPct val="20000"/>
        </a:spcBef>
        <a:spcAft>
          <a:spcPct val="0"/>
        </a:spcAft>
        <a:buChar char="•"/>
        <a:defRPr sz="3400">
          <a:solidFill>
            <a:schemeClr val="tx1"/>
          </a:solidFill>
          <a:latin typeface="+mn-lt"/>
          <a:ea typeface="+mn-ea"/>
          <a:cs typeface="+mn-cs"/>
        </a:defRPr>
      </a:lvl1pPr>
      <a:lvl2pPr marL="793750" indent="-304800" algn="l" defTabSz="977900" rtl="0" eaLnBrk="0" fontAlgn="base" hangingPunct="0">
        <a:spcBef>
          <a:spcPct val="20000"/>
        </a:spcBef>
        <a:spcAft>
          <a:spcPct val="0"/>
        </a:spcAft>
        <a:buChar char="–"/>
        <a:defRPr sz="3000">
          <a:solidFill>
            <a:schemeClr val="tx1"/>
          </a:solidFill>
          <a:latin typeface="+mn-lt"/>
        </a:defRPr>
      </a:lvl2pPr>
      <a:lvl3pPr marL="1220788" indent="-242888" algn="l" defTabSz="977900" rtl="0" eaLnBrk="0" fontAlgn="base" hangingPunct="0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+mn-lt"/>
        </a:defRPr>
      </a:lvl3pPr>
      <a:lvl4pPr marL="1709738" indent="-244475" algn="l" defTabSz="977900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4pPr>
      <a:lvl5pPr marL="2198688" indent="-244475" algn="l" defTabSz="977900" rtl="0" eaLnBrk="0" fontAlgn="base" hangingPunct="0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5pPr>
      <a:lvl6pPr marL="26558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1130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5702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40274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30392" y="765175"/>
            <a:ext cx="4535090" cy="151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Заголовок презентации</a:t>
            </a:r>
            <a:br>
              <a:rPr lang="ru-RU" altLang="ru-RU" smtClean="0"/>
            </a:br>
            <a:r>
              <a:rPr lang="ru-RU" altLang="ru-RU" smtClean="0"/>
              <a:t>шрифт </a:t>
            </a:r>
            <a:r>
              <a:rPr lang="en-US" altLang="ru-RU" smtClean="0"/>
              <a:t>Arial</a:t>
            </a:r>
            <a:r>
              <a:rPr lang="ru-RU" altLang="ru-RU" smtClean="0"/>
              <a:t> (20</a:t>
            </a:r>
            <a:r>
              <a:rPr lang="en-US" altLang="ru-RU" smtClean="0"/>
              <a:t> pt)</a:t>
            </a:r>
            <a:endParaRPr lang="ru-RU" altLang="ru-RU" smtClean="0"/>
          </a:p>
        </p:txBody>
      </p:sp>
      <p:sp>
        <p:nvSpPr>
          <p:cNvPr id="76288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450138" y="6381751"/>
            <a:ext cx="23114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1"/>
                </a:solidFill>
                <a:latin typeface="Arial" charset="0"/>
              </a:defRPr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  <a:cs typeface="+mn-cs"/>
              </a:rPr>
              <a:t>Дата и 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val="14924257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ctrTitle"/>
          </p:nvPr>
        </p:nvSpPr>
        <p:spPr>
          <a:xfrm>
            <a:off x="55964" y="24425"/>
            <a:ext cx="9433540" cy="956303"/>
          </a:xfrm>
        </p:spPr>
        <p:txBody>
          <a:bodyPr/>
          <a:lstStyle/>
          <a:p>
            <a:pPr algn="ctr"/>
            <a:r>
              <a:rPr lang="ru-RU" dirty="0" smtClean="0"/>
              <a:t/>
            </a:r>
            <a:br>
              <a:rPr lang="ru-RU" dirty="0" smtClean="0"/>
            </a:br>
            <a:r>
              <a:rPr lang="ru-RU" sz="2400" dirty="0">
                <a:solidFill>
                  <a:schemeClr val="tx1"/>
                </a:solidFill>
                <a:latin typeface="Europe" pitchFamily="2" charset="0"/>
              </a:rPr>
              <a:t>УЧЕБНЫЙ ЦЕНТР </a:t>
            </a:r>
            <a:r>
              <a:rPr lang="en-US" sz="2400" dirty="0">
                <a:solidFill>
                  <a:schemeClr val="tx1"/>
                </a:solidFill>
                <a:latin typeface="Europe" pitchFamily="2" charset="0"/>
              </a:rPr>
              <a:t/>
            </a:r>
            <a:br>
              <a:rPr lang="en-US" sz="2400" dirty="0">
                <a:solidFill>
                  <a:schemeClr val="tx1"/>
                </a:solidFill>
                <a:latin typeface="Europe" pitchFamily="2" charset="0"/>
              </a:rPr>
            </a:br>
            <a:r>
              <a:rPr lang="ru-RU" sz="2400" dirty="0">
                <a:solidFill>
                  <a:schemeClr val="tx1"/>
                </a:solidFill>
                <a:latin typeface="Europe" pitchFamily="2" charset="0"/>
              </a:rPr>
              <a:t>ПАО «САРАТОВНЕФТЕПРОДУКТ»</a:t>
            </a:r>
          </a:p>
        </p:txBody>
      </p:sp>
      <p:pic>
        <p:nvPicPr>
          <p:cNvPr id="2" name="Picture 2" descr="W:\SCAN\Учебный центр\Учебный центр\2018\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8584" y="1484784"/>
            <a:ext cx="7608262" cy="2988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296191" y="4941168"/>
            <a:ext cx="9433048" cy="1028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ctr" eaLnBrk="0" hangingPunct="0">
              <a:defRPr sz="1800">
                <a:solidFill>
                  <a:srgbClr val="3D464A"/>
                </a:solidFill>
                <a:latin typeface="Europe" pitchFamily="50" charset="-52"/>
                <a:ea typeface="+mj-ea"/>
                <a:cs typeface="+mj-cs"/>
              </a:defRPr>
            </a:lvl1pPr>
            <a:lvl2pPr eaLnBrk="0" hangingPunct="0">
              <a:defRPr>
                <a:solidFill>
                  <a:srgbClr val="3D464A"/>
                </a:solidFill>
                <a:latin typeface="Europe" pitchFamily="2" charset="0"/>
              </a:defRPr>
            </a:lvl2pPr>
            <a:lvl3pPr eaLnBrk="0" hangingPunct="0">
              <a:defRPr>
                <a:solidFill>
                  <a:srgbClr val="3D464A"/>
                </a:solidFill>
                <a:latin typeface="Europe" pitchFamily="2" charset="0"/>
              </a:defRPr>
            </a:lvl3pPr>
            <a:lvl4pPr eaLnBrk="0" hangingPunct="0">
              <a:defRPr>
                <a:solidFill>
                  <a:srgbClr val="3D464A"/>
                </a:solidFill>
                <a:latin typeface="Europe" pitchFamily="2" charset="0"/>
              </a:defRPr>
            </a:lvl4pPr>
            <a:lvl5pPr eaLnBrk="0" hangingPunct="0">
              <a:defRPr>
                <a:solidFill>
                  <a:srgbClr val="3D464A"/>
                </a:solidFill>
                <a:latin typeface="Europe" pitchFamily="2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3D464A"/>
                </a:solidFill>
                <a:latin typeface="Europe" pitchFamily="2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3D464A"/>
                </a:solidFill>
                <a:latin typeface="Europe" pitchFamily="2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3D464A"/>
                </a:solidFill>
                <a:latin typeface="Europe" pitchFamily="2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3D464A"/>
                </a:solidFill>
                <a:latin typeface="Europe" pitchFamily="2" charset="0"/>
              </a:defRPr>
            </a:lvl9pPr>
          </a:lstStyle>
          <a:p>
            <a:r>
              <a:rPr lang="ru-RU" dirty="0"/>
              <a:t/>
            </a:r>
            <a:br>
              <a:rPr lang="ru-RU" dirty="0"/>
            </a:br>
            <a:r>
              <a:rPr lang="ru-RU" dirty="0"/>
              <a:t>МАТЕРИАЛЬНО-ТЕХНИЧЕСКАЯ БАЗА</a:t>
            </a:r>
          </a:p>
        </p:txBody>
      </p:sp>
    </p:spTree>
    <p:extLst>
      <p:ext uri="{BB962C8B-B14F-4D97-AF65-F5344CB8AC3E}">
        <p14:creationId xmlns:p14="http://schemas.microsoft.com/office/powerpoint/2010/main" val="3963190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829" y="188640"/>
            <a:ext cx="8388350" cy="596900"/>
          </a:xfrm>
        </p:spPr>
        <p:txBody>
          <a:bodyPr/>
          <a:lstStyle/>
          <a:p>
            <a:pPr algn="ctr"/>
            <a:r>
              <a:rPr lang="ru-RU" dirty="0">
                <a:latin typeface="Europe" pitchFamily="2" charset="0"/>
              </a:rPr>
              <a:t> </a:t>
            </a:r>
            <a:r>
              <a:rPr lang="ru-RU" sz="2400" dirty="0" smtClean="0">
                <a:solidFill>
                  <a:schemeClr val="tx1"/>
                </a:solidFill>
                <a:latin typeface="Europe" pitchFamily="2" charset="0"/>
              </a:rPr>
              <a:t>ПРОФЕССИОНАЛЬНОЕ ОБУЧЕНИЕ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088760" y="3356992"/>
            <a:ext cx="3744416" cy="2448272"/>
          </a:xfrm>
          <a:ln>
            <a:solidFill>
              <a:srgbClr val="FFD246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>
            <a:normAutofit fontScale="92500"/>
          </a:bodyPr>
          <a:lstStyle/>
          <a:p>
            <a:pPr marL="0" indent="0" algn="ctr">
              <a:buNone/>
            </a:pPr>
            <a:endParaRPr lang="ru-RU" sz="1600" b="1" dirty="0" smtClean="0">
              <a:solidFill>
                <a:schemeClr val="tx1"/>
              </a:solidFill>
            </a:endParaRPr>
          </a:p>
          <a:p>
            <a:pPr marL="0" indent="0" algn="ctr">
              <a:buNone/>
            </a:pPr>
            <a:r>
              <a:rPr lang="ru-RU" sz="1800" b="1" dirty="0" smtClean="0">
                <a:solidFill>
                  <a:schemeClr val="tx1"/>
                </a:solidFill>
              </a:rPr>
              <a:t>ТЕХНИЧЕСКИЙ БЛОК</a:t>
            </a:r>
            <a:endParaRPr lang="ru-RU" sz="1800" b="1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tx1"/>
                </a:solidFill>
              </a:rPr>
              <a:t>Безопасность на АЗК/АЗС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tx1"/>
                </a:solidFill>
              </a:rPr>
              <a:t>Устройство АЗК/АЗС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tx1"/>
                </a:solidFill>
              </a:rPr>
              <a:t>Метрология и прием топлив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tx1"/>
                </a:solidFill>
              </a:rPr>
              <a:t>Кассовые </a:t>
            </a:r>
            <a:r>
              <a:rPr lang="ru-RU" sz="2000" dirty="0" smtClean="0">
                <a:solidFill>
                  <a:schemeClr val="tx1"/>
                </a:solidFill>
              </a:rPr>
              <a:t>дисциплины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13322" y="3356992"/>
            <a:ext cx="3672408" cy="2448272"/>
          </a:xfrm>
          <a:ln>
            <a:solidFill>
              <a:srgbClr val="FFD246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>
            <a:normAutofit fontScale="92500"/>
          </a:bodyPr>
          <a:lstStyle/>
          <a:p>
            <a:pPr marL="0" indent="0" algn="ctr">
              <a:buNone/>
            </a:pPr>
            <a:endParaRPr lang="ru-RU" sz="1600" b="1" dirty="0" smtClean="0">
              <a:solidFill>
                <a:schemeClr val="tx1"/>
              </a:solidFill>
            </a:endParaRPr>
          </a:p>
          <a:p>
            <a:pPr marL="0" indent="0" algn="ctr">
              <a:buNone/>
            </a:pPr>
            <a:r>
              <a:rPr lang="ru-RU" sz="1800" b="1" dirty="0" smtClean="0">
                <a:solidFill>
                  <a:schemeClr val="tx1"/>
                </a:solidFill>
              </a:rPr>
              <a:t>БЛОК ОБСЛУЖИВАНИЯ</a:t>
            </a:r>
            <a:endParaRPr lang="ru-RU" sz="1800" b="1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tx1"/>
                </a:solidFill>
              </a:rPr>
              <a:t>Сервисное обслуживание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tx1"/>
                </a:solidFill>
              </a:rPr>
              <a:t>Стандарты работы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tx1"/>
                </a:solidFill>
              </a:rPr>
              <a:t>Работа с трудным клиентом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tx1"/>
                </a:solidFill>
              </a:rPr>
              <a:t>Промо на АЗК/АЗС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2000" dirty="0" err="1">
                <a:solidFill>
                  <a:schemeClr val="tx1"/>
                </a:solidFill>
              </a:rPr>
              <a:t>Мерчендайзинг</a:t>
            </a:r>
            <a:endParaRPr lang="ru-RU" sz="2000" dirty="0">
              <a:solidFill>
                <a:schemeClr val="tx1"/>
              </a:solidFill>
            </a:endParaRPr>
          </a:p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F6367DC-A72E-404B-B996-9A4CEB3D18F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1424608" y="1628800"/>
            <a:ext cx="7200800" cy="894928"/>
          </a:xfrm>
          <a:prstGeom prst="roundRect">
            <a:avLst/>
          </a:prstGeom>
          <a:solidFill>
            <a:srgbClr val="FFD200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prstClr val="black"/>
                </a:solidFill>
                <a:latin typeface="Europe" pitchFamily="2" charset="0"/>
              </a:rPr>
              <a:t>ОПЕРАТОР ЗАПРАВОЧНЫХ СТАНЦИЙ</a:t>
            </a:r>
          </a:p>
        </p:txBody>
      </p:sp>
      <p:sp>
        <p:nvSpPr>
          <p:cNvPr id="17" name="Стрелка вниз 16"/>
          <p:cNvSpPr/>
          <p:nvPr/>
        </p:nvSpPr>
        <p:spPr>
          <a:xfrm>
            <a:off x="2648744" y="2669668"/>
            <a:ext cx="484632" cy="637879"/>
          </a:xfrm>
          <a:prstGeom prst="downArrow">
            <a:avLst/>
          </a:prstGeom>
          <a:solidFill>
            <a:srgbClr val="FFD200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sp>
        <p:nvSpPr>
          <p:cNvPr id="18" name="Стрелка вниз 17"/>
          <p:cNvSpPr/>
          <p:nvPr/>
        </p:nvSpPr>
        <p:spPr>
          <a:xfrm>
            <a:off x="6897216" y="2666049"/>
            <a:ext cx="484632" cy="637879"/>
          </a:xfrm>
          <a:prstGeom prst="downArrow">
            <a:avLst/>
          </a:prstGeom>
          <a:solidFill>
            <a:srgbClr val="FFD200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6267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9411" y="188640"/>
            <a:ext cx="8388350" cy="596900"/>
          </a:xfrm>
        </p:spPr>
        <p:txBody>
          <a:bodyPr>
            <a:normAutofit/>
          </a:bodyPr>
          <a:lstStyle/>
          <a:p>
            <a:pPr algn="ctr"/>
            <a:r>
              <a:rPr lang="ru-RU" sz="2400" dirty="0" smtClean="0">
                <a:solidFill>
                  <a:schemeClr val="tx1"/>
                </a:solidFill>
              </a:rPr>
              <a:t>ОСНОВНЫЕ СВЕДЕНИЯ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68532" y="1177647"/>
            <a:ext cx="8712968" cy="1764199"/>
          </a:xfrm>
        </p:spPr>
        <p:txBody>
          <a:bodyPr>
            <a:noAutofit/>
          </a:bodyPr>
          <a:lstStyle/>
          <a:p>
            <a:pPr algn="ctr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chemeClr val="tx1"/>
                </a:solidFill>
              </a:rPr>
              <a:t>Общая площадь Учебного центра -178 </a:t>
            </a:r>
            <a:r>
              <a:rPr lang="ru-RU" sz="2400" dirty="0" err="1" smtClean="0">
                <a:solidFill>
                  <a:schemeClr val="tx1"/>
                </a:solidFill>
              </a:rPr>
              <a:t>кв.м</a:t>
            </a:r>
            <a:r>
              <a:rPr lang="ru-RU" sz="2400" dirty="0" smtClean="0">
                <a:solidFill>
                  <a:schemeClr val="tx1"/>
                </a:solidFill>
              </a:rPr>
              <a:t>.</a:t>
            </a:r>
          </a:p>
          <a:p>
            <a:pPr algn="ctr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chemeClr val="tx1"/>
                </a:solidFill>
              </a:rPr>
              <a:t>Учебная аудитория</a:t>
            </a:r>
          </a:p>
          <a:p>
            <a:pPr algn="ctr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chemeClr val="tx1"/>
                </a:solidFill>
              </a:rPr>
              <a:t>Учебная площадка </a:t>
            </a:r>
          </a:p>
          <a:p>
            <a:pPr algn="ctr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chemeClr val="tx1"/>
                </a:solidFill>
              </a:rPr>
              <a:t>Комната приема пищи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F6367DC-A72E-404B-B996-9A4CEB3D18F6}" type="slidenum">
              <a:rPr lang="ru-RU" smtClean="0"/>
              <a:pPr>
                <a:defRPr/>
              </a:pPr>
              <a:t>3</a:t>
            </a:fld>
            <a:endParaRPr lang="ru-RU"/>
          </a:p>
        </p:txBody>
      </p:sp>
      <p:pic>
        <p:nvPicPr>
          <p:cNvPr id="63491" name="Picture 3" descr="C:\Users\simakarycheva\Desktop\Фото уч.кл\IMG_7944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472" y="3140968"/>
            <a:ext cx="4464016" cy="28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492" name="Picture 4" descr="C:\Users\simakarycheva\Desktop\Фото уч.кл\IMG_7984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7016" y="3140968"/>
            <a:ext cx="4536504" cy="28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2836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>
          <a:xfrm>
            <a:off x="9121574" y="6453336"/>
            <a:ext cx="289126" cy="268139"/>
          </a:xfrm>
        </p:spPr>
        <p:txBody>
          <a:bodyPr/>
          <a:lstStyle/>
          <a:p>
            <a:pPr>
              <a:defRPr/>
            </a:pPr>
            <a:fld id="{D59241FC-620E-4B9F-AC82-898CE14FC30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136576" y="34550"/>
            <a:ext cx="7416824" cy="908720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dirty="0" smtClean="0">
                <a:solidFill>
                  <a:prstClr val="black"/>
                </a:solidFill>
                <a:latin typeface="Europe" pitchFamily="2" charset="0"/>
              </a:rPr>
              <a:t>САНИТАРНО-ТЕХНИЧЕСКИЕ УСЛОВИЯ</a:t>
            </a:r>
            <a:endParaRPr lang="ru-RU" sz="2400" dirty="0">
              <a:solidFill>
                <a:prstClr val="black"/>
              </a:solidFill>
              <a:latin typeface="Europe" pitchFamily="2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236"/>
          <a:stretch/>
        </p:blipFill>
        <p:spPr bwMode="auto">
          <a:xfrm>
            <a:off x="920552" y="3861042"/>
            <a:ext cx="4011444" cy="26064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3" descr="C:\Users\simakarycheva\Desktop\Фото уч.кл\IMG_7935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1232" y="1196752"/>
            <a:ext cx="2241569" cy="2499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C:\Users\simakarycheva\Desktop\Фото уч.кл\DSC02298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548" y="1196752"/>
            <a:ext cx="2376268" cy="24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 descr="W:\SCAN\Учебный центр\Учебный центр\Новая папка\IMG_20151209_111455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0912" y="1204257"/>
            <a:ext cx="2014863" cy="24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3" descr="W:\SCAN\Учебный центр\Учебный центр\2018\IMG_7901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2801" y="3875520"/>
            <a:ext cx="3888000" cy="259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4348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59241FC-620E-4B9F-AC82-898CE14FC30D}" type="slidenum">
              <a:rPr lang="ru-RU" smtClean="0"/>
              <a:pPr>
                <a:defRPr/>
              </a:pPr>
              <a:t>5</a:t>
            </a:fld>
            <a:endParaRPr lang="ru-RU"/>
          </a:p>
        </p:txBody>
      </p:sp>
      <p:pic>
        <p:nvPicPr>
          <p:cNvPr id="64514" name="Picture 2" descr="C:\Users\simakarycheva\Desktop\Фото уч.кл\IMG_20151217_150424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472" y="1484784"/>
            <a:ext cx="2785508" cy="48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515" name="Picture 3" descr="C:\Users\simakarycheva\Desktop\Фото уч.кл\IMG_7969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2004" y="1500672"/>
            <a:ext cx="6588000" cy="48081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632520" y="21630"/>
            <a:ext cx="8280920" cy="908720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dirty="0" smtClean="0">
                <a:latin typeface="Europe" pitchFamily="2" charset="0"/>
              </a:rPr>
              <a:t>      </a:t>
            </a:r>
            <a:r>
              <a:rPr lang="ru-RU" sz="2400" dirty="0" smtClean="0">
                <a:latin typeface="Europe" pitchFamily="2" charset="0"/>
              </a:rPr>
              <a:t>МЕТОДИЧЕСКОЕ И ТЕХНИЧЕСКОЕ ОСНАЩЕНИЕ</a:t>
            </a:r>
            <a:endParaRPr lang="ru-RU" sz="2400" dirty="0">
              <a:latin typeface="Europ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8809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>
          <a:xfrm>
            <a:off x="7113240" y="6381328"/>
            <a:ext cx="2311400" cy="365125"/>
          </a:xfrm>
        </p:spPr>
        <p:txBody>
          <a:bodyPr/>
          <a:lstStyle/>
          <a:p>
            <a:pPr>
              <a:defRPr/>
            </a:pPr>
            <a:fld id="{D59241FC-620E-4B9F-AC82-898CE14FC30D}" type="slidenum">
              <a:rPr lang="ru-RU" smtClean="0"/>
              <a:pPr>
                <a:defRPr/>
              </a:pPr>
              <a:t>6</a:t>
            </a:fld>
            <a:endParaRPr lang="ru-RU"/>
          </a:p>
        </p:txBody>
      </p:sp>
      <p:pic>
        <p:nvPicPr>
          <p:cNvPr id="2050" name="Picture 2" descr="C:\Users\EAPerekotina\Desktop\e8edb42c-3e49-4beb-9d01-9bf482b39198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7016" y="4305087"/>
            <a:ext cx="3120000" cy="23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 descr="C:\Users\EAPerekotina\Desktop\6944694d-9517-4816-9638-767dbdcde2d8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2122" y="1107932"/>
            <a:ext cx="2160000" cy="28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272480" y="116632"/>
            <a:ext cx="885698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latin typeface="Europe" pitchFamily="2" charset="0"/>
              </a:rPr>
              <a:t>УЧЕБНО-МЕТОДИЧЕСКОЕ И БИБЛИОТЕЧНОЕ ОСНАЩЕНИЕ</a:t>
            </a:r>
            <a:endParaRPr lang="ru-RU" sz="2400" dirty="0">
              <a:latin typeface="Europe" pitchFamily="2" charset="0"/>
            </a:endParaRPr>
          </a:p>
        </p:txBody>
      </p:sp>
      <p:pic>
        <p:nvPicPr>
          <p:cNvPr id="2" name="Picture 2" descr="C:\Users\EAPerekotina\AppData\Local\Microsoft\Windows\Temporary Internet Files\Content.Outlook\CARBOLTU\deb4af78-7d49-41f7-a0a2-9e929854e26a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7016" y="1107932"/>
            <a:ext cx="2160000" cy="28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3" descr="C:\Users\EAPerekotina\AppData\Local\Microsoft\Windows\Temporary Internet Files\Content.Outlook\CARBOLTU\IMG_1788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6576" y="4305087"/>
            <a:ext cx="2946093" cy="23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001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59241FC-620E-4B9F-AC82-898CE14FC30D}" type="slidenum">
              <a:rPr lang="ru-RU" smtClean="0"/>
              <a:pPr>
                <a:defRPr/>
              </a:pPr>
              <a:t>7</a:t>
            </a:fld>
            <a:endParaRPr lang="ru-RU"/>
          </a:p>
        </p:txBody>
      </p:sp>
      <p:pic>
        <p:nvPicPr>
          <p:cNvPr id="66562" name="Picture 2" descr="C:\Users\simakarycheva\Desktop\Фото уч.кл\IMG_7943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473" y="1988840"/>
            <a:ext cx="4694888" cy="3456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563" name="Picture 3" descr="W:\SCAN\Учебный центр\Учебный центр\2018\IMG_8846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4168" y="1988840"/>
            <a:ext cx="4671360" cy="3456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867204" y="470992"/>
            <a:ext cx="76141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latin typeface="Europe" pitchFamily="2" charset="0"/>
              </a:rPr>
              <a:t>УЧЕБНАЯ АУДИТОРИЯ</a:t>
            </a:r>
            <a:endParaRPr lang="ru-RU" sz="2400" dirty="0">
              <a:latin typeface="Europ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974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76536" y="188640"/>
            <a:ext cx="8388747" cy="597443"/>
          </a:xfrm>
        </p:spPr>
        <p:txBody>
          <a:bodyPr>
            <a:normAutofit/>
          </a:bodyPr>
          <a:lstStyle/>
          <a:p>
            <a:pPr algn="ctr"/>
            <a:r>
              <a:rPr lang="ru-RU" sz="2400" dirty="0" smtClean="0">
                <a:solidFill>
                  <a:schemeClr val="tx1"/>
                </a:solidFill>
              </a:rPr>
              <a:t>УЧЕБНАЯ ПЛОЩАДКА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51EFF20-9F65-4795-92B7-B2A745302438}" type="slidenum">
              <a:rPr lang="ru-RU" smtClean="0"/>
              <a:pPr>
                <a:defRPr/>
              </a:pPr>
              <a:t>8</a:t>
            </a:fld>
            <a:endParaRPr lang="ru-RU"/>
          </a:p>
        </p:txBody>
      </p:sp>
      <p:pic>
        <p:nvPicPr>
          <p:cNvPr id="71682" name="Picture 2" descr="C:\Users\simakarycheva\Desktop\Фото уч.кл\IMG_20151223_150113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585" y="1727531"/>
            <a:ext cx="3204000" cy="16746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81" t="13836" r="13315" b="21423"/>
          <a:stretch/>
        </p:blipFill>
        <p:spPr bwMode="auto">
          <a:xfrm>
            <a:off x="1134586" y="3843982"/>
            <a:ext cx="3204000" cy="1729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7" t="27994" r="23064" b="19976"/>
          <a:stretch/>
        </p:blipFill>
        <p:spPr bwMode="auto">
          <a:xfrm>
            <a:off x="5070456" y="3843982"/>
            <a:ext cx="3672000" cy="1729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Рисунок 7"/>
          <p:cNvPicPr/>
          <p:nvPr/>
        </p:nvPicPr>
        <p:blipFill rotWithShape="1">
          <a:blip r:embed="rId5"/>
          <a:srcRect l="19687" t="31299" r="18917" b="26772"/>
          <a:stretch/>
        </p:blipFill>
        <p:spPr bwMode="auto">
          <a:xfrm>
            <a:off x="5064386" y="1727531"/>
            <a:ext cx="3649980" cy="167466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730392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SGnvvnRE6AOYWVF3EM7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vxYSkVHkWXTq.iBSzym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mHB2eZsEeKNs0eg1Yl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внутренний слайд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итульный слайд 2">
  <a:themeElements>
    <a:clrScheme name="титульный слайд 2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титульный слайд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титульный слайд 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итульный слайд 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итульный слайд 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итульный слайд 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итульный слайд 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итульный слайд 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итульный слайд 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итульный слайд 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итульный слайд 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итульный слайд 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итульный слайд 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итульный слайд 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Shablon_europe">
  <a:themeElements>
    <a:clrScheme name="prezent_shablon_Europ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zent_shablon_Europe">
      <a:majorFont>
        <a:latin typeface="Europe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rezent_shablon_Europ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титульный слайд 5">
  <a:themeElements>
    <a:clrScheme name="титульный слайд 5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титульный слайд 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титульный слайд 5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итульный слайд 5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итульный слайд 5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итульный слайд 5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итульный слайд 5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итульный слайд 5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итульный слайд 5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итульный слайд 5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итульный слайд 5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итульный слайд 5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итульный слайд 5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итульный слайд 5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hablon_europe</Template>
  <TotalTime>1446</TotalTime>
  <Words>72</Words>
  <Application>Microsoft Office PowerPoint</Application>
  <PresentationFormat>Лист A4 (210x297 мм)</PresentationFormat>
  <Paragraphs>34</Paragraphs>
  <Slides>8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3" baseType="lpstr">
      <vt:lpstr>внутренний слайд</vt:lpstr>
      <vt:lpstr>титульный слайд 2</vt:lpstr>
      <vt:lpstr>Shablon_europe</vt:lpstr>
      <vt:lpstr>титульный слайд 5</vt:lpstr>
      <vt:lpstr>think-cell Slide</vt:lpstr>
      <vt:lpstr> УЧЕБНЫЙ ЦЕНТР  ПАО «САРАТОВНЕФТЕПРОДУКТ»</vt:lpstr>
      <vt:lpstr> ПРОФЕССИОНАЛЬНОЕ ОБУЧЕНИЕ</vt:lpstr>
      <vt:lpstr>ОСНОВНЫЕ СВЕДЕНИЯ</vt:lpstr>
      <vt:lpstr>Презентация PowerPoint</vt:lpstr>
      <vt:lpstr>Презентация PowerPoint</vt:lpstr>
      <vt:lpstr>Презентация PowerPoint</vt:lpstr>
      <vt:lpstr>Презентация PowerPoint</vt:lpstr>
      <vt:lpstr>УЧЕБНАЯ ПЛОЩАДКА</vt:lpstr>
    </vt:vector>
  </TitlesOfParts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Заголовок презентации шрифт Europe 20 pt</dc:title>
  <dc:creator>vircat</dc:creator>
  <cp:lastModifiedBy>Staff</cp:lastModifiedBy>
  <cp:revision>165</cp:revision>
  <dcterms:created xsi:type="dcterms:W3CDTF">2012-04-25T13:09:23Z</dcterms:created>
  <dcterms:modified xsi:type="dcterms:W3CDTF">2019-02-01T06:04:25Z</dcterms:modified>
</cp:coreProperties>
</file>